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7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Weigel Stefan (PAR-EPS)" userId="fd3b2067-2981-4ad8-bf3a-d2e1004e4fa8" providerId="ADAL" clId="{55E1DA92-8B21-41F0-8C5C-F73F9F010CC6}"/>
    <pc:docChg chg="custSel modSld">
      <pc:chgData name="Weigel Stefan (PAR-EPS)" userId="fd3b2067-2981-4ad8-bf3a-d2e1004e4fa8" providerId="ADAL" clId="{55E1DA92-8B21-41F0-8C5C-F73F9F010CC6}" dt="2024-02-02T10:55:01.352" v="16" actId="20577"/>
      <pc:docMkLst>
        <pc:docMk/>
      </pc:docMkLst>
      <pc:sldChg chg="modSp mod">
        <pc:chgData name="Weigel Stefan (PAR-EPS)" userId="fd3b2067-2981-4ad8-bf3a-d2e1004e4fa8" providerId="ADAL" clId="{55E1DA92-8B21-41F0-8C5C-F73F9F010CC6}" dt="2024-02-02T10:55:01.352" v="16" actId="20577"/>
        <pc:sldMkLst>
          <pc:docMk/>
          <pc:sldMk cId="1913231849" sldId="417"/>
        </pc:sldMkLst>
        <pc:spChg chg="mod">
          <ac:chgData name="Weigel Stefan (PAR-EPS)" userId="fd3b2067-2981-4ad8-bf3a-d2e1004e4fa8" providerId="ADAL" clId="{55E1DA92-8B21-41F0-8C5C-F73F9F010CC6}" dt="2024-02-02T10:55:01.352" v="16" actId="20577"/>
          <ac:spMkLst>
            <pc:docMk/>
            <pc:sldMk cId="1913231849" sldId="417"/>
            <ac:spMk id="7" creationId="{997E4419-A7A8-4264-97B0-3A44B665821E}"/>
          </ac:spMkLst>
        </pc:sp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AA2BD2E-79AE-479A-B697-7A342CA65B65}"/>
    <pc:docChg chg="modSld">
      <pc:chgData name="Meyer Raphael (PAR-ES)" userId="79615dfe-ed48-4e74-a40f-4f7b034c1c27" providerId="ADAL" clId="{7AA2BD2E-79AE-479A-B697-7A342CA65B65}" dt="2023-02-24T13:59:56.964" v="4" actId="27918"/>
      <pc:docMkLst>
        <pc:docMk/>
      </pc:docMkLst>
      <pc:sldChg chg="mod">
        <pc:chgData name="Meyer Raphael (PAR-ES)" userId="79615dfe-ed48-4e74-a40f-4f7b034c1c27" providerId="ADAL" clId="{7AA2BD2E-79AE-479A-B697-7A342CA65B65}" dt="2023-02-24T13:59:56.964" v="4" actId="27918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00DEDCB0-9BD0-493D-AC63-48ECCF4486C6}"/>
    <pc:docChg chg="delSld">
      <pc:chgData name="Meyer Raphael (PAR-ES)" userId="79615dfe-ed48-4e74-a40f-4f7b034c1c27" providerId="ADAL" clId="{00DEDCB0-9BD0-493D-AC63-48ECCF4486C6}" dt="2022-03-09T15:51:22.394" v="0" actId="47"/>
      <pc:docMkLst>
        <pc:docMk/>
      </pc:docMkLst>
      <pc:sldChg chg="del">
        <pc:chgData name="Meyer Raphael (PAR-ES)" userId="79615dfe-ed48-4e74-a40f-4f7b034c1c27" providerId="ADAL" clId="{00DEDCB0-9BD0-493D-AC63-48ECCF4486C6}" dt="2022-03-09T15:51:22.394" v="0" actId="47"/>
        <pc:sldMkLst>
          <pc:docMk/>
          <pc:sldMk cId="1774855510" sldId="414"/>
        </pc:sldMkLst>
      </pc:sldChg>
      <pc:sldChg chg="del">
        <pc:chgData name="Meyer Raphael (PAR-ES)" userId="79615dfe-ed48-4e74-a40f-4f7b034c1c27" providerId="ADAL" clId="{00DEDCB0-9BD0-493D-AC63-48ECCF4486C6}" dt="2022-03-09T15:51:22.394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00DEDCB0-9BD0-493D-AC63-48ECCF4486C6}" dt="2022-03-09T15:51:22.394" v="0" actId="47"/>
        <pc:sldMkLst>
          <pc:docMk/>
          <pc:sldMk cId="2251798312" sldId="416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PS)" userId="fd3b2067-2981-4ad8-bf3a-d2e1004e4fa8" providerId="ADAL" clId="{3861B66C-498B-4C58-9750-D307AA729168}"/>
    <pc:docChg chg="modSld">
      <pc:chgData name="Weigel Stefan (PAR-EPS)" userId="fd3b2067-2981-4ad8-bf3a-d2e1004e4fa8" providerId="ADAL" clId="{3861B66C-498B-4C58-9750-D307AA729168}" dt="2024-03-06T14:06:00.212" v="3" actId="27918"/>
      <pc:docMkLst>
        <pc:docMk/>
      </pc:docMkLst>
      <pc:sldChg chg="mod">
        <pc:chgData name="Weigel Stefan (PAR-EPS)" userId="fd3b2067-2981-4ad8-bf3a-d2e1004e4fa8" providerId="ADAL" clId="{3861B66C-498B-4C58-9750-D307AA729168}" dt="2024-03-06T14:06:00.212" v="3" actId="27918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Abbonamenti generali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44189200000000001</c:v>
                </c:pt>
                <c:pt idx="1">
                  <c:v>0.45277399999999995</c:v>
                </c:pt>
                <c:pt idx="2">
                  <c:v>0.46013499999999996</c:v>
                </c:pt>
                <c:pt idx="3">
                  <c:v>0.47218299999999996</c:v>
                </c:pt>
                <c:pt idx="4">
                  <c:v>0.48016999999999999</c:v>
                </c:pt>
                <c:pt idx="5">
                  <c:v>0.490205</c:v>
                </c:pt>
                <c:pt idx="6">
                  <c:v>0.49952999999999997</c:v>
                </c:pt>
                <c:pt idx="7">
                  <c:v>0.43870999999999999</c:v>
                </c:pt>
                <c:pt idx="8">
                  <c:v>0.40637099999999998</c:v>
                </c:pt>
                <c:pt idx="9">
                  <c:v>0.43076799999999998</c:v>
                </c:pt>
                <c:pt idx="10">
                  <c:v>0.447165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Abbonamenti metà-prezzo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2.3354409999999999</c:v>
                </c:pt>
                <c:pt idx="1">
                  <c:v>2.343696</c:v>
                </c:pt>
                <c:pt idx="2">
                  <c:v>2.3324039999999999</c:v>
                </c:pt>
                <c:pt idx="3">
                  <c:v>2.3949219999999998</c:v>
                </c:pt>
                <c:pt idx="4">
                  <c:v>2.5310319999999997</c:v>
                </c:pt>
                <c:pt idx="5">
                  <c:v>2.597655</c:v>
                </c:pt>
                <c:pt idx="6">
                  <c:v>2.7219449999999998</c:v>
                </c:pt>
                <c:pt idx="7">
                  <c:v>2.720812</c:v>
                </c:pt>
                <c:pt idx="8">
                  <c:v>2.828964</c:v>
                </c:pt>
                <c:pt idx="9">
                  <c:v>2.9686149999999998</c:v>
                </c:pt>
                <c:pt idx="10">
                  <c:v>3.146678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4297094364984851E-2"/>
          <c:y val="0.82582619369142318"/>
          <c:w val="0.44514394643034827"/>
          <c:h val="5.472318412195201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17109</cdr:x>
      <cdr:y>0.0624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36" y="52653"/>
          <a:ext cx="1170761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 err="1">
              <a:solidFill>
                <a:srgbClr val="444444"/>
              </a:solidFill>
              <a:cs typeface="Arial" pitchFamily="34" charset="0"/>
            </a:rPr>
            <a:t>Mio</a:t>
          </a:r>
          <a:r>
            <a:rPr lang="de-CH" sz="1000" dirty="0">
              <a:solidFill>
                <a:srgbClr val="444444"/>
              </a:solidFill>
              <a:cs typeface="Arial" pitchFamily="34" charset="0"/>
            </a:rPr>
            <a:t> di abbonamenti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6.03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9769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Clientela fissa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693306691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bbonamenti generali e metà-prezzo del Servizio diretto svizzero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  <a:r>
              <a:rPr lang="de-CH" sz="1000" kern="0" spc="0" dirty="0" err="1">
                <a:solidFill>
                  <a:srgbClr val="444444"/>
                </a:solidFill>
                <a:latin typeface="SBB Light"/>
              </a:rPr>
              <a:t>sbb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ch</a:t>
            </a:r>
          </a:p>
        </p:txBody>
      </p:sp>
    </p:spTree>
    <p:extLst>
      <p:ext uri="{BB962C8B-B14F-4D97-AF65-F5344CB8AC3E}">
        <p14:creationId xmlns:p14="http://schemas.microsoft.com/office/powerpoint/2010/main" val="19132318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E9DF39-EE48-43AE-932C-E3E62EE2FBA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lientela fissa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entela fissa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3-06T14:0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